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sldIdLst>
    <p:sldId id="263" r:id="rId2"/>
  </p:sldIdLst>
  <p:sldSz cx="12192000" cy="6858000"/>
  <p:notesSz cx="6797675" cy="987425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FDD48"/>
    <a:srgbClr val="004DE6"/>
    <a:srgbClr val="0000FF"/>
    <a:srgbClr val="EC7C01"/>
    <a:srgbClr val="42526B"/>
    <a:srgbClr val="FCA321"/>
    <a:srgbClr val="FDBE20"/>
    <a:srgbClr val="293341"/>
    <a:srgbClr val="7F94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24"/>
    <p:restoredTop sz="94167"/>
  </p:normalViewPr>
  <p:slideViewPr>
    <p:cSldViewPr snapToGrid="0" snapToObjects="1" showGuides="1">
      <p:cViewPr varScale="1">
        <p:scale>
          <a:sx n="69" d="100"/>
          <a:sy n="69" d="100"/>
        </p:scale>
        <p:origin x="1038" y="4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0D8C96-A281-BE4A-8920-AC978D51979C}" type="datetimeFigureOut">
              <a:rPr lang="en-US" smtClean="0"/>
              <a:pPr/>
              <a:t>1/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3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24F282-BE79-6146-BA61-9EEBC12ED38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03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kobuagency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unsplash.com/s/photos/meeting?utm_source=unsplash&amp;utm_medium=referral&amp;utm_content=creditCopyText" TargetMode="External"/><Relationship Id="rId4" Type="http://schemas.openxmlformats.org/officeDocument/2006/relationships/hyperlink" Target="https://unsplash.com/@austindistel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Austin </a:t>
            </a:r>
            <a:r>
              <a:rPr lang="en-US" sz="1200" b="0" i="0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Distel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ID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 </a:t>
            </a:r>
            <a:r>
              <a:rPr lang="en-ID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Unsplash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24F282-BE79-6146-BA61-9EEBC12ED389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7538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CB63D-7643-1E4F-8DDC-24CE2AA169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7534E22-6D1B-F043-B658-F19DD188C4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23D9DCC-9361-BC4E-AC06-33A154757611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553E14CC-125E-7B45-8B2C-CF6FB4BB13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AE459396-4EBC-C548-918B-331A5244FFE1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2D86BC-2EAC-6E4A-B45C-D006089EC28C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303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18437E-5AF1-DE41-A5AB-37D3EFAAF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02D56A2-847F-554A-8B61-D9118C3F9AF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393E83-FA87-0843-BD32-999355DA9E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7EE85BE-7784-9440-9F2B-034B24DB9B35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86391A9B-2E45-4C48-A811-AF74F1F7F911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C705FA1B-EF01-BF45-B9E5-1B731B98D60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8458D7-AB91-5F4A-A76E-9993295EC2C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64714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774640-6AF9-564C-B2B6-F05D1AB6C5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B7BB5C-051F-F54E-94F3-0DE8E1489B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AAABEEA-4B73-4E46-81C2-D4E8ABC7E5F4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00236A3-088D-A748-8891-C57C719D1B7F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CE86EA0-BADD-254D-AB83-89CFA74710FA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8D8C54-4E0D-944A-9AFB-6E357C722210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565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831C43F-2755-7644-923B-C0AE04A360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8652C5E-4724-0E44-9D74-E948798F24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0E0F476-3A44-084E-A847-06838EE77B3F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FD37708C-0DD8-2140-814E-E8876FE832F5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992A40C4-022A-6843-BE98-56062B52D98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62E71D-BD5D-F643-82E3-34FCC431EE15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80072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B13FD7-2C09-9348-9D0E-06F4687548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FB297E-04E5-6E43-843B-5DFB995B6C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7" y="1825625"/>
            <a:ext cx="11160126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2189CEE-F432-BE43-8A56-190B8E05B7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3FC17D3D-568A-BA4C-86E4-71E30355089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49779BB0-3F62-D84F-ABFD-B43CBE234B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945A01B-68E3-864C-A6DA-8F5C6ED8B88E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9540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F53B9-D8CC-CA47-825A-BAB4551231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B894B2-5C5B-6445-9C2B-F916E997FD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F41D90-22FA-6B44-AD9C-8BD5673675E8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89503038-7BAC-334A-8964-F6A3D9542FBE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B5E48212-1C36-2F44-98CF-4F936F6B1092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1F05B0-E452-DA4C-842D-639C35F13DE7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8333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71FB4A-B1C2-134C-BD06-EC4DF921DC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A020E3-0C95-8146-8C53-AD951A09A42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BF6684-1A3B-5442-AE47-D8B182343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E6F2A46-631D-0C4D-B4EB-B3A9F1C2302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CFFB4D8C-2F5B-AA42-A596-966DF2E0128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5DEA8492-083D-E441-93E5-E85D88E0141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5CC8759-3FFF-F34C-9AC5-F04182A0C084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9347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8D4063-0260-324B-8BE9-419900C3E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74C7C3-D5AD-F54F-9AA8-369FE1206C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C1B679A-806F-2843-AAFB-7A3D778D2E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A03E9C4-01C0-6146-A854-046AC276D7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A12ACC-AC8B-AE45-B434-6CB627D5060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12BD6AC-4010-0B41-99E6-92C3FC4484FE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8152FCD5-638C-7841-AEA6-5CFE55CDABB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7" name="Parallelogram 16">
            <a:extLst>
              <a:ext uri="{FF2B5EF4-FFF2-40B4-BE49-F238E27FC236}">
                <a16:creationId xmlns:a16="http://schemas.microsoft.com/office/drawing/2014/main" id="{B36C77E1-E1FC-CC44-A38F-38080121C29F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F908700-1DD2-184E-8A88-1B0E24BC71ED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458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A7F1A-9513-7247-A856-31C213C22E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D05DFB7-A793-0E4F-9F13-0233E5AC096B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88BA89A-67E4-8F47-B701-91877925BB3A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20" name="Parallelogram 19">
            <a:extLst>
              <a:ext uri="{FF2B5EF4-FFF2-40B4-BE49-F238E27FC236}">
                <a16:creationId xmlns:a16="http://schemas.microsoft.com/office/drawing/2014/main" id="{842A90DC-0F43-A64B-9122-59D37D59B6F5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7AD1F8A-0F22-8D4D-BDD1-EFBA923C2ABB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438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1766AB1-BECD-E446-B7B8-F966EE9CD310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2B4E1A3-FDED-B54A-A4B2-560DFB748E63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40023B8F-C9D4-EB4C-A3EE-4E825969E1D6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89448EE-955F-C34B-B990-21F42FB2B842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371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19877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3E4E2B-78FA-AF43-8B4E-7A0205C52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246695-62C6-3443-8CB8-695A7B1EE4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D9539A-BA0B-EA49-AB9E-F449F299BA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88F9980-FEFA-8446-B9EA-1997F22CEA56}"/>
              </a:ext>
            </a:extLst>
          </p:cNvPr>
          <p:cNvCxnSpPr>
            <a:cxnSpLocks/>
          </p:cNvCxnSpPr>
          <p:nvPr userDrawn="1"/>
        </p:nvCxnSpPr>
        <p:spPr>
          <a:xfrm flipH="1">
            <a:off x="1" y="6585228"/>
            <a:ext cx="1072482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E07480B-6E4D-AC45-877A-31402BFDD812}"/>
              </a:ext>
            </a:extLst>
          </p:cNvPr>
          <p:cNvSpPr txBox="1"/>
          <p:nvPr userDrawn="1"/>
        </p:nvSpPr>
        <p:spPr>
          <a:xfrm>
            <a:off x="10798708" y="6523673"/>
            <a:ext cx="279534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" b="0" dirty="0">
                <a:solidFill>
                  <a:schemeClr val="tx2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GE</a:t>
            </a:r>
          </a:p>
        </p:txBody>
      </p:sp>
      <p:sp>
        <p:nvSpPr>
          <p:cNvPr id="15" name="Parallelogram 14">
            <a:extLst>
              <a:ext uri="{FF2B5EF4-FFF2-40B4-BE49-F238E27FC236}">
                <a16:creationId xmlns:a16="http://schemas.microsoft.com/office/drawing/2014/main" id="{E809110A-4D9A-7647-A1A1-98DE54E084C0}"/>
              </a:ext>
            </a:extLst>
          </p:cNvPr>
          <p:cNvSpPr/>
          <p:nvPr userDrawn="1"/>
        </p:nvSpPr>
        <p:spPr>
          <a:xfrm>
            <a:off x="10991141" y="6453610"/>
            <a:ext cx="679375" cy="404390"/>
          </a:xfrm>
          <a:prstGeom prst="parallelogram">
            <a:avLst>
              <a:gd name="adj" fmla="val 71202"/>
            </a:avLst>
          </a:prstGeom>
          <a:gradFill flip="none" rotWithShape="1">
            <a:gsLst>
              <a:gs pos="0">
                <a:schemeClr val="tx2"/>
              </a:gs>
              <a:gs pos="99000">
                <a:schemeClr val="tx2">
                  <a:lumMod val="60000"/>
                  <a:lumOff val="4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F3E5FB-B705-D74E-B23A-B3DF73E05DA9}"/>
              </a:ext>
            </a:extLst>
          </p:cNvPr>
          <p:cNvSpPr txBox="1"/>
          <p:nvPr userDrawn="1"/>
        </p:nvSpPr>
        <p:spPr>
          <a:xfrm>
            <a:off x="11238686" y="6508284"/>
            <a:ext cx="271386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/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413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E94FC0-35D2-44AE-AEE5-71505C6D0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80384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A7D9650-46B3-4E96-A668-2171F650283E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C64A4A6-6757-E34C-869B-A73947FBDC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65126"/>
            <a:ext cx="11160126" cy="903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5C1F96B-B991-4D47-B8A1-D2EE9230D8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7" y="1551709"/>
            <a:ext cx="11160126" cy="46252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590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orient="horz" pos="3997" userDrawn="1">
          <p15:clr>
            <a:srgbClr val="F26B43"/>
          </p15:clr>
        </p15:guide>
        <p15:guide id="4" orient="horz" pos="79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E43DCD-F115-4EC7-90AE-5F5E6C4738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702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EC140B3F-4BDA-4FDA-A9EE-3C673CDF237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805" t="1" r="22006" b="-30275"/>
          <a:stretch/>
        </p:blipFill>
        <p:spPr>
          <a:xfrm>
            <a:off x="-1442835" y="3176"/>
            <a:ext cx="10601649" cy="8371809"/>
          </a:xfrm>
          <a:prstGeom prst="flowChartManualOperation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11BA9D-6688-4D12-8941-8F3541E560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603" y="293972"/>
            <a:ext cx="5144369" cy="2031222"/>
          </a:xfrm>
        </p:spPr>
        <p:txBody>
          <a:bodyPr>
            <a:normAutofit fontScale="90000"/>
          </a:bodyPr>
          <a:lstStyle/>
          <a:p>
            <a:r>
              <a:rPr lang="uk-UA" sz="4400" dirty="0">
                <a:solidFill>
                  <a:schemeClr val="tx2"/>
                </a:solidFill>
              </a:rPr>
              <a:t>Шукаєте співробітників? </a:t>
            </a:r>
            <a:br>
              <a:rPr lang="uk-UA" sz="4400" dirty="0">
                <a:solidFill>
                  <a:schemeClr val="tx2"/>
                </a:solidFill>
              </a:rPr>
            </a:br>
            <a:r>
              <a:rPr lang="uk-UA" sz="4400" dirty="0">
                <a:solidFill>
                  <a:schemeClr val="tx2"/>
                </a:solidFill>
              </a:rPr>
              <a:t>Звертайтеся  до служби зайнятості!</a:t>
            </a:r>
            <a:endParaRPr lang="en-US" sz="4400" dirty="0">
              <a:solidFill>
                <a:schemeClr val="bg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EE3A0A7-F0BD-4CC9-8CDC-BA513901E5E4}"/>
              </a:ext>
            </a:extLst>
          </p:cNvPr>
          <p:cNvSpPr/>
          <p:nvPr/>
        </p:nvSpPr>
        <p:spPr>
          <a:xfrm>
            <a:off x="3586316" y="1908253"/>
            <a:ext cx="8605684" cy="3557433"/>
          </a:xfrm>
          <a:custGeom>
            <a:avLst/>
            <a:gdLst>
              <a:gd name="connsiteX0" fmla="*/ 2182433 w 8605684"/>
              <a:gd name="connsiteY0" fmla="*/ 0 h 3557433"/>
              <a:gd name="connsiteX1" fmla="*/ 8605684 w 8605684"/>
              <a:gd name="connsiteY1" fmla="*/ 0 h 3557433"/>
              <a:gd name="connsiteX2" fmla="*/ 8605684 w 8605684"/>
              <a:gd name="connsiteY2" fmla="*/ 3557433 h 3557433"/>
              <a:gd name="connsiteX3" fmla="*/ 0 w 8605684"/>
              <a:gd name="connsiteY3" fmla="*/ 3557433 h 3557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05684" h="3557433">
                <a:moveTo>
                  <a:pt x="2182433" y="0"/>
                </a:moveTo>
                <a:lnTo>
                  <a:pt x="8605684" y="0"/>
                </a:lnTo>
                <a:lnTo>
                  <a:pt x="8605684" y="3557433"/>
                </a:lnTo>
                <a:lnTo>
                  <a:pt x="0" y="3557433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CB1DF-AB7E-4220-9C07-5A95CD99AED5}"/>
              </a:ext>
            </a:extLst>
          </p:cNvPr>
          <p:cNvCxnSpPr>
            <a:cxnSpLocks/>
          </p:cNvCxnSpPr>
          <p:nvPr/>
        </p:nvCxnSpPr>
        <p:spPr>
          <a:xfrm flipH="1">
            <a:off x="352336" y="5549673"/>
            <a:ext cx="950017" cy="131804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0544301-48A2-4C9C-9CBF-01A720F732C0}"/>
              </a:ext>
            </a:extLst>
          </p:cNvPr>
          <p:cNvCxnSpPr>
            <a:cxnSpLocks/>
          </p:cNvCxnSpPr>
          <p:nvPr/>
        </p:nvCxnSpPr>
        <p:spPr>
          <a:xfrm flipH="1">
            <a:off x="967890" y="0"/>
            <a:ext cx="668925" cy="92806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B9FDE632-EB7A-4B93-91CA-ADBBEB70E194}"/>
              </a:ext>
            </a:extLst>
          </p:cNvPr>
          <p:cNvSpPr/>
          <p:nvPr/>
        </p:nvSpPr>
        <p:spPr>
          <a:xfrm>
            <a:off x="5971195" y="2466063"/>
            <a:ext cx="523863" cy="52386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8793306-E704-4ACA-95A6-8186A836AD67}"/>
              </a:ext>
            </a:extLst>
          </p:cNvPr>
          <p:cNvSpPr/>
          <p:nvPr/>
        </p:nvSpPr>
        <p:spPr>
          <a:xfrm>
            <a:off x="6781521" y="2256220"/>
            <a:ext cx="5886703" cy="83099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uk-UA" b="1" u="sng" dirty="0">
                <a:solidFill>
                  <a:srgbClr val="FFDD48"/>
                </a:solidFill>
                <a:latin typeface="Comic Sans MS" panose="030F0702030302020204" pitchFamily="66" charset="0"/>
              </a:rPr>
              <a:t>Беремо всю роботу за </a:t>
            </a:r>
            <a:r>
              <a:rPr lang="uk-UA" b="1" u="sng" dirty="0" err="1">
                <a:solidFill>
                  <a:srgbClr val="FFDD48"/>
                </a:solidFill>
                <a:latin typeface="Comic Sans MS" panose="030F0702030302020204" pitchFamily="66" charset="0"/>
              </a:rPr>
              <a:t>наймом</a:t>
            </a:r>
            <a:r>
              <a:rPr lang="uk-UA" b="1" u="sng" dirty="0">
                <a:solidFill>
                  <a:srgbClr val="FFDD48"/>
                </a:solidFill>
                <a:latin typeface="Comic Sans MS" panose="030F0702030302020204" pitchFamily="66" charset="0"/>
              </a:rPr>
              <a:t> на себе</a:t>
            </a:r>
            <a:r>
              <a:rPr lang="uk-UA" u="sng" dirty="0">
                <a:solidFill>
                  <a:srgbClr val="FFDD48"/>
                </a:solidFill>
                <a:latin typeface="Comic Sans MS" panose="030F0702030302020204" pitchFamily="66" charset="0"/>
              </a:rPr>
              <a:t>.</a:t>
            </a:r>
          </a:p>
          <a:p>
            <a:r>
              <a:rPr lang="uk-UA" dirty="0">
                <a:solidFill>
                  <a:srgbClr val="FFDD48"/>
                </a:solidFill>
                <a:latin typeface="Comic Sans MS" panose="030F0702030302020204" pitchFamily="66" charset="0"/>
              </a:rPr>
              <a:t>Ви заповнюєте профіль вакансії, ми </a:t>
            </a:r>
            <a:r>
              <a:rPr lang="uk-UA" dirty="0" smtClean="0">
                <a:solidFill>
                  <a:srgbClr val="FFDD48"/>
                </a:solidFill>
                <a:latin typeface="Comic Sans MS" panose="030F0702030302020204" pitchFamily="66" charset="0"/>
              </a:rPr>
              <a:t>підбираємо персонал, </a:t>
            </a:r>
            <a:r>
              <a:rPr lang="uk-UA" dirty="0">
                <a:solidFill>
                  <a:srgbClr val="FFDD48"/>
                </a:solidFill>
                <a:latin typeface="Comic Sans MS" panose="030F0702030302020204" pitchFamily="66" charset="0"/>
              </a:rPr>
              <a:t>проводимо співбесіди з кандидатами</a:t>
            </a:r>
            <a:r>
              <a:rPr lang="en-ID" dirty="0">
                <a:solidFill>
                  <a:srgbClr val="FFDD48"/>
                </a:solidFill>
                <a:latin typeface="Comic Sans MS" panose="030F0702030302020204" pitchFamily="66" charset="0"/>
              </a:rPr>
              <a:t>. </a:t>
            </a:r>
            <a:endParaRPr lang="en-US" dirty="0">
              <a:solidFill>
                <a:srgbClr val="FFDD48"/>
              </a:solidFill>
              <a:latin typeface="Comic Sans MS" panose="030F0702030302020204" pitchFamily="66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01E2288-0DC1-4661-9A34-91E96138B913}"/>
              </a:ext>
            </a:extLst>
          </p:cNvPr>
          <p:cNvSpPr/>
          <p:nvPr/>
        </p:nvSpPr>
        <p:spPr>
          <a:xfrm>
            <a:off x="5328879" y="3513813"/>
            <a:ext cx="523863" cy="52386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BD4AF05-62EA-4906-963E-1AC5566D474A}"/>
              </a:ext>
            </a:extLst>
          </p:cNvPr>
          <p:cNvSpPr/>
          <p:nvPr/>
        </p:nvSpPr>
        <p:spPr>
          <a:xfrm>
            <a:off x="6099863" y="3334947"/>
            <a:ext cx="5576200" cy="83099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uk-UA" b="1" u="sng" dirty="0">
                <a:solidFill>
                  <a:srgbClr val="FFDD48"/>
                </a:solidFill>
                <a:latin typeface="Comic Sans MS" panose="030F0702030302020204" pitchFamily="66" charset="0"/>
              </a:rPr>
              <a:t>Підберемо ідеального кандидата.                              </a:t>
            </a:r>
            <a:endParaRPr lang="uk-UA" b="1" u="sng" dirty="0" smtClean="0">
              <a:solidFill>
                <a:srgbClr val="FFDD48"/>
              </a:solidFill>
              <a:latin typeface="Comic Sans MS" panose="030F0702030302020204" pitchFamily="66" charset="0"/>
            </a:endParaRPr>
          </a:p>
          <a:p>
            <a:r>
              <a:rPr lang="uk-UA" dirty="0" smtClean="0">
                <a:solidFill>
                  <a:srgbClr val="FFDD48"/>
                </a:solidFill>
                <a:latin typeface="Comic Sans MS" panose="030F0702030302020204" pitchFamily="66" charset="0"/>
              </a:rPr>
              <a:t>Пропонуємо  </a:t>
            </a:r>
            <a:r>
              <a:rPr lang="uk-UA" dirty="0">
                <a:solidFill>
                  <a:srgbClr val="FFDD48"/>
                </a:solidFill>
                <a:latin typeface="Comic Sans MS" panose="030F0702030302020204" pitchFamily="66" charset="0"/>
              </a:rPr>
              <a:t>тільки кандидатів, </a:t>
            </a:r>
            <a:r>
              <a:rPr lang="uk-UA" dirty="0" smtClean="0">
                <a:solidFill>
                  <a:srgbClr val="FFDD48"/>
                </a:solidFill>
                <a:latin typeface="Comic Sans MS" panose="030F0702030302020204" pitchFamily="66" charset="0"/>
              </a:rPr>
              <a:t>які підходять </a:t>
            </a:r>
            <a:r>
              <a:rPr lang="uk-UA" dirty="0">
                <a:solidFill>
                  <a:srgbClr val="FFDD48"/>
                </a:solidFill>
                <a:latin typeface="Comic Sans MS" panose="030F0702030302020204" pitchFamily="66" charset="0"/>
              </a:rPr>
              <a:t>під </a:t>
            </a:r>
            <a:r>
              <a:rPr lang="uk-UA" dirty="0" smtClean="0">
                <a:solidFill>
                  <a:srgbClr val="FFDD48"/>
                </a:solidFill>
                <a:latin typeface="Comic Sans MS" panose="030F0702030302020204" pitchFamily="66" charset="0"/>
              </a:rPr>
              <a:t>Ваші </a:t>
            </a:r>
            <a:r>
              <a:rPr lang="uk-UA" dirty="0">
                <a:solidFill>
                  <a:srgbClr val="FFDD48"/>
                </a:solidFill>
                <a:latin typeface="Comic Sans MS" panose="030F0702030302020204" pitchFamily="66" charset="0"/>
              </a:rPr>
              <a:t>вимоги. </a:t>
            </a:r>
            <a:endParaRPr lang="en-US" dirty="0">
              <a:solidFill>
                <a:srgbClr val="FFDD48"/>
              </a:solidFill>
              <a:latin typeface="Comic Sans MS" panose="030F0702030302020204" pitchFamily="66" charset="0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C2987653-6D15-45B1-8A44-9B6FC0499316}"/>
              </a:ext>
            </a:extLst>
          </p:cNvPr>
          <p:cNvSpPr/>
          <p:nvPr/>
        </p:nvSpPr>
        <p:spPr>
          <a:xfrm>
            <a:off x="4681179" y="4561563"/>
            <a:ext cx="523863" cy="52386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58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10FB287-536B-4221-979F-4A955516855F}"/>
              </a:ext>
            </a:extLst>
          </p:cNvPr>
          <p:cNvSpPr/>
          <p:nvPr/>
        </p:nvSpPr>
        <p:spPr>
          <a:xfrm>
            <a:off x="5683038" y="4520607"/>
            <a:ext cx="5993025" cy="55399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r>
              <a:rPr lang="uk-UA" b="1" u="sng" dirty="0" smtClean="0">
                <a:solidFill>
                  <a:srgbClr val="FFDD48"/>
                </a:solidFill>
                <a:latin typeface="Comic Sans MS" panose="030F0702030302020204" pitchFamily="66" charset="0"/>
                <a:cs typeface="Segoe UI" panose="020B0502040204020203" pitchFamily="34" charset="0"/>
              </a:rPr>
              <a:t>Персональний </a:t>
            </a:r>
            <a:r>
              <a:rPr lang="uk-UA" b="1" u="sng" dirty="0" err="1" smtClean="0">
                <a:solidFill>
                  <a:srgbClr val="FFDD48"/>
                </a:solidFill>
                <a:latin typeface="Comic Sans MS" panose="030F0702030302020204" pitchFamily="66" charset="0"/>
                <a:cs typeface="Segoe UI" panose="020B0502040204020203" pitchFamily="34" charset="0"/>
              </a:rPr>
              <a:t>рекрутер</a:t>
            </a:r>
            <a:r>
              <a:rPr lang="uk-UA" b="1" u="sng" dirty="0" smtClean="0">
                <a:solidFill>
                  <a:srgbClr val="FFDD48"/>
                </a:solidFill>
                <a:latin typeface="Comic Sans MS" panose="030F0702030302020204" pitchFamily="66" charset="0"/>
                <a:cs typeface="Segoe UI" panose="020B0502040204020203" pitchFamily="34" charset="0"/>
              </a:rPr>
              <a:t>. </a:t>
            </a:r>
          </a:p>
          <a:p>
            <a:r>
              <a:rPr lang="uk-UA" dirty="0" smtClean="0">
                <a:solidFill>
                  <a:srgbClr val="FFDD48"/>
                </a:solidFill>
                <a:latin typeface="Comic Sans MS" panose="030F0702030302020204" pitchFamily="66" charset="0"/>
                <a:cs typeface="Segoe UI" panose="020B0502040204020203" pitchFamily="34" charset="0"/>
              </a:rPr>
              <a:t>Проконсультує</a:t>
            </a:r>
            <a:r>
              <a:rPr lang="uk-UA" dirty="0">
                <a:solidFill>
                  <a:srgbClr val="FFDD48"/>
                </a:solidFill>
                <a:latin typeface="Comic Sans MS" panose="030F0702030302020204" pitchFamily="66" charset="0"/>
                <a:cs typeface="Segoe UI" panose="020B0502040204020203" pitchFamily="34" charset="0"/>
              </a:rPr>
              <a:t>,</a:t>
            </a:r>
            <a:r>
              <a:rPr lang="uk-UA" dirty="0" smtClean="0">
                <a:solidFill>
                  <a:srgbClr val="FFDD48"/>
                </a:solidFill>
                <a:latin typeface="Comic Sans MS" panose="030F0702030302020204" pitchFamily="66" charset="0"/>
                <a:cs typeface="Segoe UI" panose="020B0502040204020203" pitchFamily="34" charset="0"/>
              </a:rPr>
              <a:t>  відповість на Ваші запитання</a:t>
            </a:r>
            <a:r>
              <a:rPr lang="uk-UA" sz="1600" dirty="0" smtClean="0">
                <a:solidFill>
                  <a:schemeClr val="bg1"/>
                </a:solidFill>
                <a:latin typeface="Segoe UI Light" panose="020B0502040204020203" pitchFamily="34" charset="0"/>
                <a:cs typeface="Segoe UI" panose="020B0502040204020203" pitchFamily="34" charset="0"/>
              </a:rPr>
              <a:t>.</a:t>
            </a:r>
            <a:endParaRPr lang="en-ID" sz="1600" dirty="0">
              <a:solidFill>
                <a:schemeClr val="bg1"/>
              </a:solidFill>
              <a:latin typeface="Segoe UI Light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Freeform 30">
            <a:extLst>
              <a:ext uri="{FF2B5EF4-FFF2-40B4-BE49-F238E27FC236}">
                <a16:creationId xmlns:a16="http://schemas.microsoft.com/office/drawing/2014/main" id="{A5ED56FB-5492-4921-B538-1A13451B859A}"/>
              </a:ext>
            </a:extLst>
          </p:cNvPr>
          <p:cNvSpPr>
            <a:spLocks/>
          </p:cNvSpPr>
          <p:nvPr/>
        </p:nvSpPr>
        <p:spPr bwMode="auto">
          <a:xfrm>
            <a:off x="6106962" y="2619770"/>
            <a:ext cx="252329" cy="216448"/>
          </a:xfrm>
          <a:custGeom>
            <a:avLst/>
            <a:gdLst>
              <a:gd name="T0" fmla="*/ 185 w 218"/>
              <a:gd name="T1" fmla="*/ 0 h 187"/>
              <a:gd name="T2" fmla="*/ 66 w 218"/>
              <a:gd name="T3" fmla="*/ 120 h 187"/>
              <a:gd name="T4" fmla="*/ 33 w 218"/>
              <a:gd name="T5" fmla="*/ 86 h 187"/>
              <a:gd name="T6" fmla="*/ 0 w 218"/>
              <a:gd name="T7" fmla="*/ 120 h 187"/>
              <a:gd name="T8" fmla="*/ 66 w 218"/>
              <a:gd name="T9" fmla="*/ 187 h 187"/>
              <a:gd name="T10" fmla="*/ 218 w 218"/>
              <a:gd name="T11" fmla="*/ 34 h 187"/>
              <a:gd name="T12" fmla="*/ 185 w 218"/>
              <a:gd name="T13" fmla="*/ 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8" h="187">
                <a:moveTo>
                  <a:pt x="185" y="0"/>
                </a:moveTo>
                <a:lnTo>
                  <a:pt x="66" y="120"/>
                </a:lnTo>
                <a:lnTo>
                  <a:pt x="33" y="86"/>
                </a:lnTo>
                <a:lnTo>
                  <a:pt x="0" y="120"/>
                </a:lnTo>
                <a:lnTo>
                  <a:pt x="66" y="187"/>
                </a:lnTo>
                <a:lnTo>
                  <a:pt x="218" y="34"/>
                </a:lnTo>
                <a:lnTo>
                  <a:pt x="185" y="0"/>
                </a:lnTo>
                <a:close/>
              </a:path>
            </a:pathLst>
          </a:custGeom>
          <a:noFill/>
          <a:ln w="15875" cap="flat">
            <a:solidFill>
              <a:srgbClr val="EC7C0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39" name="Freeform 30">
            <a:extLst>
              <a:ext uri="{FF2B5EF4-FFF2-40B4-BE49-F238E27FC236}">
                <a16:creationId xmlns:a16="http://schemas.microsoft.com/office/drawing/2014/main" id="{EFF97408-3E27-49D4-8B00-69B55B9AFBFA}"/>
              </a:ext>
            </a:extLst>
          </p:cNvPr>
          <p:cNvSpPr>
            <a:spLocks/>
          </p:cNvSpPr>
          <p:nvPr/>
        </p:nvSpPr>
        <p:spPr bwMode="auto">
          <a:xfrm>
            <a:off x="5464646" y="3667520"/>
            <a:ext cx="252329" cy="216448"/>
          </a:xfrm>
          <a:custGeom>
            <a:avLst/>
            <a:gdLst>
              <a:gd name="T0" fmla="*/ 185 w 218"/>
              <a:gd name="T1" fmla="*/ 0 h 187"/>
              <a:gd name="T2" fmla="*/ 66 w 218"/>
              <a:gd name="T3" fmla="*/ 120 h 187"/>
              <a:gd name="T4" fmla="*/ 33 w 218"/>
              <a:gd name="T5" fmla="*/ 86 h 187"/>
              <a:gd name="T6" fmla="*/ 0 w 218"/>
              <a:gd name="T7" fmla="*/ 120 h 187"/>
              <a:gd name="T8" fmla="*/ 66 w 218"/>
              <a:gd name="T9" fmla="*/ 187 h 187"/>
              <a:gd name="T10" fmla="*/ 218 w 218"/>
              <a:gd name="T11" fmla="*/ 34 h 187"/>
              <a:gd name="T12" fmla="*/ 185 w 218"/>
              <a:gd name="T13" fmla="*/ 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8" h="187">
                <a:moveTo>
                  <a:pt x="185" y="0"/>
                </a:moveTo>
                <a:lnTo>
                  <a:pt x="66" y="120"/>
                </a:lnTo>
                <a:lnTo>
                  <a:pt x="33" y="86"/>
                </a:lnTo>
                <a:lnTo>
                  <a:pt x="0" y="120"/>
                </a:lnTo>
                <a:lnTo>
                  <a:pt x="66" y="187"/>
                </a:lnTo>
                <a:lnTo>
                  <a:pt x="218" y="34"/>
                </a:lnTo>
                <a:lnTo>
                  <a:pt x="185" y="0"/>
                </a:lnTo>
                <a:close/>
              </a:path>
            </a:pathLst>
          </a:custGeom>
          <a:noFill/>
          <a:ln w="15875" cap="flat">
            <a:solidFill>
              <a:srgbClr val="EC7C0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1" name="Freeform 30">
            <a:extLst>
              <a:ext uri="{FF2B5EF4-FFF2-40B4-BE49-F238E27FC236}">
                <a16:creationId xmlns:a16="http://schemas.microsoft.com/office/drawing/2014/main" id="{2C972DB9-426C-48F8-87D9-B884A13FEF19}"/>
              </a:ext>
            </a:extLst>
          </p:cNvPr>
          <p:cNvSpPr>
            <a:spLocks/>
          </p:cNvSpPr>
          <p:nvPr/>
        </p:nvSpPr>
        <p:spPr bwMode="auto">
          <a:xfrm>
            <a:off x="4816946" y="4715270"/>
            <a:ext cx="252329" cy="216448"/>
          </a:xfrm>
          <a:custGeom>
            <a:avLst/>
            <a:gdLst>
              <a:gd name="T0" fmla="*/ 185 w 218"/>
              <a:gd name="T1" fmla="*/ 0 h 187"/>
              <a:gd name="T2" fmla="*/ 66 w 218"/>
              <a:gd name="T3" fmla="*/ 120 h 187"/>
              <a:gd name="T4" fmla="*/ 33 w 218"/>
              <a:gd name="T5" fmla="*/ 86 h 187"/>
              <a:gd name="T6" fmla="*/ 0 w 218"/>
              <a:gd name="T7" fmla="*/ 120 h 187"/>
              <a:gd name="T8" fmla="*/ 66 w 218"/>
              <a:gd name="T9" fmla="*/ 187 h 187"/>
              <a:gd name="T10" fmla="*/ 218 w 218"/>
              <a:gd name="T11" fmla="*/ 34 h 187"/>
              <a:gd name="T12" fmla="*/ 185 w 218"/>
              <a:gd name="T13" fmla="*/ 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8" h="187">
                <a:moveTo>
                  <a:pt x="185" y="0"/>
                </a:moveTo>
                <a:lnTo>
                  <a:pt x="66" y="120"/>
                </a:lnTo>
                <a:lnTo>
                  <a:pt x="33" y="86"/>
                </a:lnTo>
                <a:lnTo>
                  <a:pt x="0" y="120"/>
                </a:lnTo>
                <a:lnTo>
                  <a:pt x="66" y="187"/>
                </a:lnTo>
                <a:lnTo>
                  <a:pt x="218" y="34"/>
                </a:lnTo>
                <a:lnTo>
                  <a:pt x="185" y="0"/>
                </a:lnTo>
                <a:close/>
              </a:path>
            </a:pathLst>
          </a:custGeom>
          <a:noFill/>
          <a:ln w="15875" cap="flat">
            <a:solidFill>
              <a:srgbClr val="EC7C0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42" name="TextBox 17"/>
          <p:cNvSpPr txBox="1"/>
          <p:nvPr/>
        </p:nvSpPr>
        <p:spPr>
          <a:xfrm>
            <a:off x="5069275" y="5769844"/>
            <a:ext cx="3068554" cy="65402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uk-UA" sz="1400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вертайтеся за телефонами:</a:t>
            </a:r>
          </a:p>
          <a:p>
            <a:pPr algn="ctr">
              <a:lnSpc>
                <a:spcPts val="1680"/>
              </a:lnSpc>
            </a:pPr>
            <a:r>
              <a:rPr lang="uk-UA" sz="1400" b="1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044)29</a:t>
            </a:r>
            <a:r>
              <a:rPr lang="en-US" sz="1400" b="1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  <a:r>
              <a:rPr lang="uk-UA" sz="1400" b="1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-00-50</a:t>
            </a:r>
            <a:endParaRPr lang="en-US" sz="1400" b="1" spc="36" dirty="0" smtClean="0">
              <a:solidFill>
                <a:srgbClr val="02030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ctr">
              <a:lnSpc>
                <a:spcPts val="1680"/>
              </a:lnSpc>
            </a:pPr>
            <a:r>
              <a:rPr lang="en-US" sz="1400" b="1" spc="36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066)509-77-22</a:t>
            </a:r>
            <a:endParaRPr lang="uk-UA" sz="1400" b="1" spc="36" dirty="0" smtClean="0">
              <a:solidFill>
                <a:srgbClr val="02030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4" name="TextBox 17"/>
          <p:cNvSpPr txBox="1"/>
          <p:nvPr/>
        </p:nvSpPr>
        <p:spPr>
          <a:xfrm>
            <a:off x="9053857" y="5667417"/>
            <a:ext cx="3068554" cy="87203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uk-UA" sz="1400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бо заповнюй профіль вакансії </a:t>
            </a:r>
          </a:p>
          <a:p>
            <a:pPr algn="ctr">
              <a:lnSpc>
                <a:spcPts val="1680"/>
              </a:lnSpc>
            </a:pPr>
            <a:r>
              <a:rPr lang="uk-UA" sz="1400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 </a:t>
            </a:r>
            <a:r>
              <a:rPr lang="en-US" sz="1400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QR-</a:t>
            </a:r>
            <a:r>
              <a:rPr lang="uk-UA" sz="1400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ом та/або надсилай</a:t>
            </a:r>
          </a:p>
          <a:p>
            <a:pPr algn="ctr">
              <a:lnSpc>
                <a:spcPts val="1680"/>
              </a:lnSpc>
            </a:pPr>
            <a:r>
              <a:rPr lang="uk-UA" sz="1400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на </a:t>
            </a:r>
            <a:r>
              <a:rPr lang="uk-UA" sz="1400" spc="36" dirty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</a:t>
            </a:r>
            <a:r>
              <a:rPr lang="uk-UA" sz="1400" spc="36" dirty="0" smtClean="0">
                <a:solidFill>
                  <a:srgbClr val="02030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ктронну пошту:</a:t>
            </a:r>
          </a:p>
          <a:p>
            <a:pPr algn="ctr">
              <a:lnSpc>
                <a:spcPts val="1680"/>
              </a:lnSpc>
            </a:pPr>
            <a:r>
              <a:rPr lang="en-US" sz="1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obotajob159</a:t>
            </a:r>
            <a:r>
              <a:rPr lang="uk-UA" sz="1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@</a:t>
            </a:r>
            <a:r>
              <a:rPr lang="en-US" sz="1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mail.com</a:t>
            </a:r>
            <a:r>
              <a:rPr lang="uk-UA" sz="14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sz="1400" b="1" spc="36" dirty="0">
              <a:solidFill>
                <a:srgbClr val="02030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099" name="Picture 27" descr="http://qrcoder.ru/code/?https%3A%2F%2Fdocs.google.com%2Fdocument%2Fd%2F1nhwj-haH8au8U8miC_6TgnGojr5cJKh1%2Fedit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3664" y="5576844"/>
            <a:ext cx="1257344" cy="125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5588" y="165246"/>
            <a:ext cx="1504168" cy="1490154"/>
          </a:xfrm>
          <a:prstGeom prst="rect">
            <a:avLst/>
          </a:prstGeom>
        </p:spPr>
      </p:pic>
      <p:sp>
        <p:nvSpPr>
          <p:cNvPr id="24" name="Rectangle 3">
            <a:extLst>
              <a:ext uri="{FF2B5EF4-FFF2-40B4-BE49-F238E27FC236}">
                <a16:creationId xmlns:a16="http://schemas.microsoft.com/office/drawing/2014/main" id="{8D3937FC-59DB-2A49-8B68-681B18E370E0}"/>
              </a:ext>
            </a:extLst>
          </p:cNvPr>
          <p:cNvSpPr/>
          <p:nvPr/>
        </p:nvSpPr>
        <p:spPr>
          <a:xfrm>
            <a:off x="323624" y="4857175"/>
            <a:ext cx="4398962" cy="1384995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/>
          <a:p>
            <a:r>
              <a:rPr lang="uk-UA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иївська обласна служба</a:t>
            </a:r>
          </a:p>
          <a:p>
            <a:r>
              <a:rPr lang="uk-UA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зайнятості пропонує</a:t>
            </a:r>
            <a:endParaRPr lang="en-US" b="1" dirty="0" smtClean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uk-UA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зкоштовні послуги з </a:t>
            </a:r>
            <a:r>
              <a:rPr lang="uk-UA" b="1" dirty="0" err="1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крутингу</a:t>
            </a:r>
            <a:r>
              <a:rPr lang="uk-UA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                        якісний підбір персоналу та професійна оцінка кандидатів.</a:t>
            </a:r>
            <a:r>
              <a:rPr lang="en-ID" b="1" dirty="0" smtClean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b="1" dirty="0">
              <a:solidFill>
                <a:schemeClr val="tx2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5" name="Group 13">
            <a:extLst>
              <a:ext uri="{FF2B5EF4-FFF2-40B4-BE49-F238E27FC236}">
                <a16:creationId xmlns:a16="http://schemas.microsoft.com/office/drawing/2014/main" id="{02EE72FF-1540-4B32-9A9F-576194C5D675}"/>
              </a:ext>
            </a:extLst>
          </p:cNvPr>
          <p:cNvGrpSpPr/>
          <p:nvPr/>
        </p:nvGrpSpPr>
        <p:grpSpPr>
          <a:xfrm>
            <a:off x="1176530" y="2727993"/>
            <a:ext cx="1506534" cy="1513474"/>
            <a:chOff x="4841875" y="2895601"/>
            <a:chExt cx="344488" cy="346075"/>
          </a:xfrm>
        </p:grpSpPr>
        <p:sp>
          <p:nvSpPr>
            <p:cNvPr id="26" name="Freeform 258">
              <a:extLst>
                <a:ext uri="{FF2B5EF4-FFF2-40B4-BE49-F238E27FC236}">
                  <a16:creationId xmlns:a16="http://schemas.microsoft.com/office/drawing/2014/main" id="{F35C41F3-ED82-45A0-AA25-791F6F56FF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6488" y="2895601"/>
              <a:ext cx="195263" cy="195263"/>
            </a:xfrm>
            <a:custGeom>
              <a:avLst/>
              <a:gdLst>
                <a:gd name="T0" fmla="*/ 52 w 52"/>
                <a:gd name="T1" fmla="*/ 26 h 52"/>
                <a:gd name="T2" fmla="*/ 26 w 52"/>
                <a:gd name="T3" fmla="*/ 52 h 52"/>
                <a:gd name="T4" fmla="*/ 0 w 52"/>
                <a:gd name="T5" fmla="*/ 25 h 52"/>
                <a:gd name="T6" fmla="*/ 25 w 52"/>
                <a:gd name="T7" fmla="*/ 0 h 52"/>
                <a:gd name="T8" fmla="*/ 26 w 52"/>
                <a:gd name="T9" fmla="*/ 0 h 52"/>
                <a:gd name="T10" fmla="*/ 52 w 52"/>
                <a:gd name="T11" fmla="*/ 2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52">
                  <a:moveTo>
                    <a:pt x="52" y="26"/>
                  </a:moveTo>
                  <a:cubicBezTo>
                    <a:pt x="52" y="40"/>
                    <a:pt x="40" y="52"/>
                    <a:pt x="26" y="52"/>
                  </a:cubicBezTo>
                  <a:cubicBezTo>
                    <a:pt x="12" y="52"/>
                    <a:pt x="0" y="40"/>
                    <a:pt x="0" y="25"/>
                  </a:cubicBezTo>
                  <a:cubicBezTo>
                    <a:pt x="0" y="11"/>
                    <a:pt x="11" y="1"/>
                    <a:pt x="25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40" y="0"/>
                    <a:pt x="52" y="11"/>
                    <a:pt x="52" y="26"/>
                  </a:cubicBezTo>
                  <a:close/>
                </a:path>
              </a:pathLst>
            </a:custGeom>
            <a:noFill/>
            <a:ln w="31750" cap="flat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259">
              <a:extLst>
                <a:ext uri="{FF2B5EF4-FFF2-40B4-BE49-F238E27FC236}">
                  <a16:creationId xmlns:a16="http://schemas.microsoft.com/office/drawing/2014/main" id="{8978A4D6-CC38-4035-BEDD-81EE34F6D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7763" y="2895601"/>
              <a:ext cx="52388" cy="195263"/>
            </a:xfrm>
            <a:custGeom>
              <a:avLst/>
              <a:gdLst>
                <a:gd name="T0" fmla="*/ 14 w 14"/>
                <a:gd name="T1" fmla="*/ 0 h 52"/>
                <a:gd name="T2" fmla="*/ 14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14" y="0"/>
                  </a:moveTo>
                  <a:cubicBezTo>
                    <a:pt x="0" y="15"/>
                    <a:pt x="0" y="34"/>
                    <a:pt x="14" y="52"/>
                  </a:cubicBezTo>
                </a:path>
              </a:pathLst>
            </a:custGeom>
            <a:noFill/>
            <a:ln w="31750" cap="flat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60">
              <a:extLst>
                <a:ext uri="{FF2B5EF4-FFF2-40B4-BE49-F238E27FC236}">
                  <a16:creationId xmlns:a16="http://schemas.microsoft.com/office/drawing/2014/main" id="{CE5ADC75-4C1D-46E3-82DC-B8FC15CDE1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8088" y="2895601"/>
              <a:ext cx="52388" cy="195263"/>
            </a:xfrm>
            <a:custGeom>
              <a:avLst/>
              <a:gdLst>
                <a:gd name="T0" fmla="*/ 0 w 14"/>
                <a:gd name="T1" fmla="*/ 0 h 52"/>
                <a:gd name="T2" fmla="*/ 0 w 14"/>
                <a:gd name="T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4" h="52">
                  <a:moveTo>
                    <a:pt x="0" y="0"/>
                  </a:moveTo>
                  <a:cubicBezTo>
                    <a:pt x="14" y="15"/>
                    <a:pt x="14" y="34"/>
                    <a:pt x="0" y="52"/>
                  </a:cubicBezTo>
                </a:path>
              </a:pathLst>
            </a:custGeom>
            <a:noFill/>
            <a:ln w="31750" cap="flat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Line 261">
              <a:extLst>
                <a:ext uri="{FF2B5EF4-FFF2-40B4-BE49-F238E27FC236}">
                  <a16:creationId xmlns:a16="http://schemas.microsoft.com/office/drawing/2014/main" id="{D964EAD4-587F-494C-AF2A-2CDA07D07A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3044826"/>
              <a:ext cx="165100" cy="0"/>
            </a:xfrm>
            <a:prstGeom prst="line">
              <a:avLst/>
            </a:prstGeom>
            <a:noFill/>
            <a:ln w="31750" cap="flat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0" name="Line 262">
              <a:extLst>
                <a:ext uri="{FF2B5EF4-FFF2-40B4-BE49-F238E27FC236}">
                  <a16:creationId xmlns:a16="http://schemas.microsoft.com/office/drawing/2014/main" id="{A62B70A2-0F90-4236-A971-2CA1DE41814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363" y="2940051"/>
              <a:ext cx="165100" cy="0"/>
            </a:xfrm>
            <a:prstGeom prst="line">
              <a:avLst/>
            </a:prstGeom>
            <a:noFill/>
            <a:ln w="31750" cap="flat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Line 263">
              <a:extLst>
                <a:ext uri="{FF2B5EF4-FFF2-40B4-BE49-F238E27FC236}">
                  <a16:creationId xmlns:a16="http://schemas.microsoft.com/office/drawing/2014/main" id="{757DDC25-6E66-4D43-AB39-3EAF984A99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16488" y="2992438"/>
              <a:ext cx="195263" cy="0"/>
            </a:xfrm>
            <a:prstGeom prst="line">
              <a:avLst/>
            </a:prstGeom>
            <a:noFill/>
            <a:ln w="31750" cap="flat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Oval 264">
              <a:extLst>
                <a:ext uri="{FF2B5EF4-FFF2-40B4-BE49-F238E27FC236}">
                  <a16:creationId xmlns:a16="http://schemas.microsoft.com/office/drawing/2014/main" id="{0A4C088F-FA14-4C3E-940D-6A600447C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4100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Oval 265">
              <a:extLst>
                <a:ext uri="{FF2B5EF4-FFF2-40B4-BE49-F238E27FC236}">
                  <a16:creationId xmlns:a16="http://schemas.microsoft.com/office/drawing/2014/main" id="{05E931D5-7599-482A-BD8B-48593F9AB8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76813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7" name="Oval 266">
              <a:extLst>
                <a:ext uri="{FF2B5EF4-FFF2-40B4-BE49-F238E27FC236}">
                  <a16:creationId xmlns:a16="http://schemas.microsoft.com/office/drawing/2014/main" id="{7F1CB5C0-2D85-4B91-B731-02B0DBA7C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9525" y="3105151"/>
              <a:ext cx="74613" cy="76200"/>
            </a:xfrm>
            <a:prstGeom prst="ellipse">
              <a:avLst/>
            </a:prstGeom>
            <a:noFill/>
            <a:ln w="31750" cap="rnd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8" name="Freeform 267">
              <a:extLst>
                <a:ext uri="{FF2B5EF4-FFF2-40B4-BE49-F238E27FC236}">
                  <a16:creationId xmlns:a16="http://schemas.microsoft.com/office/drawing/2014/main" id="{B83933C5-7518-4E26-AD4A-B4BF5A004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1875" y="3181351"/>
              <a:ext cx="344488" cy="60325"/>
            </a:xfrm>
            <a:custGeom>
              <a:avLst/>
              <a:gdLst>
                <a:gd name="T0" fmla="*/ 76 w 92"/>
                <a:gd name="T1" fmla="*/ 0 h 16"/>
                <a:gd name="T2" fmla="*/ 61 w 92"/>
                <a:gd name="T3" fmla="*/ 11 h 16"/>
                <a:gd name="T4" fmla="*/ 46 w 92"/>
                <a:gd name="T5" fmla="*/ 0 h 16"/>
                <a:gd name="T6" fmla="*/ 31 w 92"/>
                <a:gd name="T7" fmla="*/ 11 h 16"/>
                <a:gd name="T8" fmla="*/ 16 w 92"/>
                <a:gd name="T9" fmla="*/ 0 h 16"/>
                <a:gd name="T10" fmla="*/ 0 w 92"/>
                <a:gd name="T11" fmla="*/ 16 h 16"/>
                <a:gd name="T12" fmla="*/ 92 w 92"/>
                <a:gd name="T13" fmla="*/ 16 h 16"/>
                <a:gd name="T14" fmla="*/ 76 w 92"/>
                <a:gd name="T15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6">
                  <a:moveTo>
                    <a:pt x="76" y="0"/>
                  </a:moveTo>
                  <a:cubicBezTo>
                    <a:pt x="69" y="0"/>
                    <a:pt x="63" y="4"/>
                    <a:pt x="61" y="11"/>
                  </a:cubicBezTo>
                  <a:cubicBezTo>
                    <a:pt x="59" y="4"/>
                    <a:pt x="53" y="0"/>
                    <a:pt x="46" y="0"/>
                  </a:cubicBezTo>
                  <a:cubicBezTo>
                    <a:pt x="39" y="0"/>
                    <a:pt x="33" y="4"/>
                    <a:pt x="31" y="11"/>
                  </a:cubicBezTo>
                  <a:cubicBezTo>
                    <a:pt x="29" y="4"/>
                    <a:pt x="23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8"/>
                    <a:pt x="85" y="0"/>
                    <a:pt x="76" y="0"/>
                  </a:cubicBezTo>
                  <a:close/>
                </a:path>
              </a:pathLst>
            </a:custGeom>
            <a:noFill/>
            <a:ln w="31750" cap="rnd">
              <a:solidFill>
                <a:srgbClr val="00206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10291535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qoms7yKcShj3BwfHXfMg"/>
</p:tagLst>
</file>

<file path=ppt/theme/theme1.xml><?xml version="1.0" encoding="utf-8"?>
<a:theme xmlns:a="http://schemas.openxmlformats.org/drawingml/2006/main" name="Office Theme">
  <a:themeElements>
    <a:clrScheme name="Custom 1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F19E05"/>
      </a:accent2>
      <a:accent3>
        <a:srgbClr val="F2B703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2</TotalTime>
  <Words>98</Words>
  <Application>Microsoft Office PowerPoint</Application>
  <PresentationFormat>Широкоэкранный</PresentationFormat>
  <Paragraphs>19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8" baseType="lpstr">
      <vt:lpstr>Arial</vt:lpstr>
      <vt:lpstr>Calibri</vt:lpstr>
      <vt:lpstr>Comic Sans MS</vt:lpstr>
      <vt:lpstr>Segoe UI</vt:lpstr>
      <vt:lpstr>Segoe UI Light</vt:lpstr>
      <vt:lpstr>Office Theme</vt:lpstr>
      <vt:lpstr>think-cell Slide</vt:lpstr>
      <vt:lpstr>Шукаєте співробітників?  Звертайтеся  до служби зайнятості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t 24slides6</dc:creator>
  <cp:lastModifiedBy>User</cp:lastModifiedBy>
  <cp:revision>56</cp:revision>
  <cp:lastPrinted>2022-12-01T09:38:02Z</cp:lastPrinted>
  <dcterms:created xsi:type="dcterms:W3CDTF">2020-06-09T07:36:46Z</dcterms:created>
  <dcterms:modified xsi:type="dcterms:W3CDTF">2023-01-02T11:1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842144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S9.0.1</vt:lpwstr>
  </property>
</Properties>
</file>